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4" r:id="rId1"/>
  </p:sldMasterIdLst>
  <p:sldIdLst>
    <p:sldId id="259" r:id="rId2"/>
  </p:sldIdLst>
  <p:sldSz cx="6858000" cy="9144000" type="letter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03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E9B30"/>
    <a:srgbClr val="9B7D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0"/>
    <p:restoredTop sz="95170"/>
  </p:normalViewPr>
  <p:slideViewPr>
    <p:cSldViewPr snapToGrid="0" snapToObjects="1" showGuides="1">
      <p:cViewPr>
        <p:scale>
          <a:sx n="72" d="100"/>
          <a:sy n="72" d="100"/>
        </p:scale>
        <p:origin x="3216" y="488"/>
      </p:cViewPr>
      <p:guideLst>
        <p:guide orient="horz" pos="2903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6" d="100"/>
        <a:sy n="8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496484"/>
            <a:ext cx="5829300" cy="318346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4802717"/>
            <a:ext cx="5143500" cy="220768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2/22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5871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2/22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8560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486834"/>
            <a:ext cx="1478756" cy="7749117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486834"/>
            <a:ext cx="4350544" cy="7749117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2/22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457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2/22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0890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279653"/>
            <a:ext cx="5915025" cy="3803649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119286"/>
            <a:ext cx="5915025" cy="200024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2/22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2761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434167"/>
            <a:ext cx="2914650" cy="5801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434167"/>
            <a:ext cx="2914650" cy="5801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2/22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0084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486836"/>
            <a:ext cx="5915025" cy="176741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241551"/>
            <a:ext cx="2901255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340100"/>
            <a:ext cx="2901255" cy="4912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241551"/>
            <a:ext cx="2915543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340100"/>
            <a:ext cx="2915543" cy="4912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2/22/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3842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2/22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5098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2/22/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1491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316569"/>
            <a:ext cx="3471863" cy="649816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2/22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7502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316569"/>
            <a:ext cx="3471863" cy="6498167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2/22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8502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319F932-5611-0543-A856-1353564868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17120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ABEEEF-E625-CF4B-B6D9-D9850F260E36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Gotham HTF Book" pitchFamily="2" charset="77"/>
              <a:ea typeface="+mj-ea"/>
              <a:sym typeface="Gotham HTF Book" pitchFamily="2" charset="77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486836"/>
            <a:ext cx="5915025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434167"/>
            <a:ext cx="5915025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589450-6D6C-274A-95DB-474DD4720C8A}" type="datetimeFigureOut">
              <a:rPr lang="en-US" smtClean="0"/>
              <a:t>2/22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8475136"/>
            <a:ext cx="2314575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5039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Gotham HTF Book" pitchFamily="2" charset="77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4" userDrawn="1">
          <p15:clr>
            <a:srgbClr val="F26B43"/>
          </p15:clr>
        </p15:guide>
        <p15:guide id="2" pos="3906" userDrawn="1">
          <p15:clr>
            <a:srgbClr val="F26B43"/>
          </p15:clr>
        </p15:guide>
        <p15:guide id="3" orient="horz" pos="204" userDrawn="1">
          <p15:clr>
            <a:srgbClr val="F26B43"/>
          </p15:clr>
        </p15:guide>
        <p15:guide id="4" orient="horz" pos="55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10" Type="http://schemas.openxmlformats.org/officeDocument/2006/relationships/image" Target="../media/image7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FA78AEB-8B77-FC49-B430-9C45EE0DBC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95387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Rectangle 77">
            <a:extLst>
              <a:ext uri="{FF2B5EF4-FFF2-40B4-BE49-F238E27FC236}">
                <a16:creationId xmlns:a16="http://schemas.microsoft.com/office/drawing/2014/main" id="{28858569-E5B1-F14E-ADE8-CE5AF52D6867}"/>
              </a:ext>
            </a:extLst>
          </p:cNvPr>
          <p:cNvSpPr/>
          <p:nvPr/>
        </p:nvSpPr>
        <p:spPr>
          <a:xfrm>
            <a:off x="-2787" y="400849"/>
            <a:ext cx="6866857" cy="849819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405111D9-0973-DC4C-912A-76F54DF06A70}"/>
              </a:ext>
            </a:extLst>
          </p:cNvPr>
          <p:cNvCxnSpPr>
            <a:stCxn id="6" idx="6"/>
            <a:endCxn id="81" idx="2"/>
          </p:cNvCxnSpPr>
          <p:nvPr/>
        </p:nvCxnSpPr>
        <p:spPr>
          <a:xfrm>
            <a:off x="1733897" y="2523285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CC3F55B9-7784-294A-9A97-6353E454267A}"/>
              </a:ext>
            </a:extLst>
          </p:cNvPr>
          <p:cNvCxnSpPr/>
          <p:nvPr/>
        </p:nvCxnSpPr>
        <p:spPr>
          <a:xfrm>
            <a:off x="1733897" y="4559073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4831F0FC-9122-5244-BCB0-659102DE3208}"/>
              </a:ext>
            </a:extLst>
          </p:cNvPr>
          <p:cNvCxnSpPr/>
          <p:nvPr/>
        </p:nvCxnSpPr>
        <p:spPr>
          <a:xfrm>
            <a:off x="1674869" y="6516650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id="{8DC41098-5FE0-E14F-A669-706291BA286E}"/>
              </a:ext>
            </a:extLst>
          </p:cNvPr>
          <p:cNvSpPr/>
          <p:nvPr/>
        </p:nvSpPr>
        <p:spPr>
          <a:xfrm>
            <a:off x="245323" y="1778998"/>
            <a:ext cx="1488574" cy="1488574"/>
          </a:xfrm>
          <a:prstGeom prst="ellipse">
            <a:avLst/>
          </a:prstGeom>
          <a:solidFill>
            <a:schemeClr val="bg2"/>
          </a:solidFill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8C712FAF-54BC-5447-854F-DAEE611E7A73}"/>
              </a:ext>
            </a:extLst>
          </p:cNvPr>
          <p:cNvSpPr/>
          <p:nvPr/>
        </p:nvSpPr>
        <p:spPr>
          <a:xfrm>
            <a:off x="245323" y="1778998"/>
            <a:ext cx="1488574" cy="1488574"/>
          </a:xfrm>
          <a:prstGeom prst="ellipse">
            <a:avLst/>
          </a:pr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1A209C9D-A77E-3641-8298-ED108D1D9293}"/>
              </a:ext>
            </a:extLst>
          </p:cNvPr>
          <p:cNvSpPr/>
          <p:nvPr/>
        </p:nvSpPr>
        <p:spPr>
          <a:xfrm>
            <a:off x="5124103" y="5772363"/>
            <a:ext cx="1488574" cy="1488574"/>
          </a:xfrm>
          <a:prstGeom prst="ellipse">
            <a:avLst/>
          </a:prstGeom>
          <a:solidFill>
            <a:schemeClr val="bg2"/>
          </a:solidFill>
          <a:ln w="1143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8A29B27A-D5D2-9044-829D-3F3054BA7B93}"/>
              </a:ext>
            </a:extLst>
          </p:cNvPr>
          <p:cNvSpPr/>
          <p:nvPr/>
        </p:nvSpPr>
        <p:spPr>
          <a:xfrm>
            <a:off x="5124103" y="5772363"/>
            <a:ext cx="1488574" cy="1488574"/>
          </a:xfrm>
          <a:prstGeom prst="ellipse">
            <a:avLst/>
          </a:pr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B99F9F39-C795-E945-ACC8-D1CE237F4D65}"/>
              </a:ext>
            </a:extLst>
          </p:cNvPr>
          <p:cNvSpPr/>
          <p:nvPr/>
        </p:nvSpPr>
        <p:spPr>
          <a:xfrm>
            <a:off x="-1" y="7438559"/>
            <a:ext cx="6866857" cy="1730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5688CDA-8122-A94D-BE74-DCDC2CAC444E}"/>
              </a:ext>
            </a:extLst>
          </p:cNvPr>
          <p:cNvSpPr/>
          <p:nvPr/>
        </p:nvSpPr>
        <p:spPr>
          <a:xfrm>
            <a:off x="0" y="1"/>
            <a:ext cx="6866857" cy="11855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2C17CBAF-D139-A348-AEB8-170C0FA9980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208457" y="316456"/>
            <a:ext cx="1207483" cy="482162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29D9C47A-BE7B-A141-9A12-F042EE60E847}"/>
              </a:ext>
            </a:extLst>
          </p:cNvPr>
          <p:cNvSpPr txBox="1"/>
          <p:nvPr/>
        </p:nvSpPr>
        <p:spPr>
          <a:xfrm>
            <a:off x="309229" y="191168"/>
            <a:ext cx="2909709" cy="497319"/>
          </a:xfrm>
          <a:prstGeom prst="rect">
            <a:avLst/>
          </a:prstGeom>
          <a:noFill/>
        </p:spPr>
        <p:txBody>
          <a:bodyPr wrap="none" lIns="0" rIns="0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2800" b="1" dirty="0">
                <a:solidFill>
                  <a:schemeClr val="bg1"/>
                </a:solidFill>
                <a:latin typeface="Gotham HTF Black" pitchFamily="2" charset="77"/>
              </a:rPr>
              <a:t>CUT-THROUGH</a:t>
            </a:r>
            <a:br>
              <a:rPr lang="en-US" sz="2800" b="1" dirty="0">
                <a:solidFill>
                  <a:schemeClr val="tx1">
                    <a:lumMod val="75000"/>
                  </a:schemeClr>
                </a:solidFill>
                <a:latin typeface="Gotham HTF Black" pitchFamily="2" charset="77"/>
              </a:rPr>
            </a:br>
            <a:r>
              <a:rPr lang="en-US" sz="3600" dirty="0">
                <a:solidFill>
                  <a:schemeClr val="tx1">
                    <a:lumMod val="75000"/>
                  </a:schemeClr>
                </a:solidFill>
                <a:latin typeface="Gotham HTF Book" pitchFamily="2" charset="77"/>
              </a:rPr>
              <a:t>EXPLAINED</a:t>
            </a:r>
            <a:endParaRPr lang="en-US" sz="2800" dirty="0">
              <a:solidFill>
                <a:schemeClr val="tx2"/>
              </a:solidFill>
              <a:latin typeface="Gotham HTF Book" pitchFamily="2" charset="77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007128C5-2A34-7C48-B7BD-962026C2E788}"/>
              </a:ext>
            </a:extLst>
          </p:cNvPr>
          <p:cNvSpPr/>
          <p:nvPr/>
        </p:nvSpPr>
        <p:spPr>
          <a:xfrm>
            <a:off x="245323" y="378639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68B22E61-C73C-5446-A4A3-04C26C8CBE0B}"/>
              </a:ext>
            </a:extLst>
          </p:cNvPr>
          <p:cNvSpPr/>
          <p:nvPr/>
        </p:nvSpPr>
        <p:spPr>
          <a:xfrm>
            <a:off x="245323" y="577236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9C0A3F29-A09A-C844-95A0-48D472D3F054}"/>
              </a:ext>
            </a:extLst>
          </p:cNvPr>
          <p:cNvSpPr/>
          <p:nvPr/>
        </p:nvSpPr>
        <p:spPr>
          <a:xfrm>
            <a:off x="5124103" y="1778998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9A0B1D2D-2A17-1E46-91D0-7E5DFB2902EE}"/>
              </a:ext>
            </a:extLst>
          </p:cNvPr>
          <p:cNvSpPr/>
          <p:nvPr/>
        </p:nvSpPr>
        <p:spPr>
          <a:xfrm>
            <a:off x="5124103" y="378639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6E359B4-CB6E-BF4E-A045-CC36CF55E53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42568" y="2069876"/>
            <a:ext cx="1054100" cy="838200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3D2E596C-9D6B-8944-9392-33C16C4C55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6132" y="4084523"/>
            <a:ext cx="1054100" cy="8382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CE89DD0-4585-2349-89E1-8C5CBEA34D4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61618" y="6075656"/>
            <a:ext cx="1016000" cy="8001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A0911A0-6FBD-C94D-A7F7-CBFC186A0BD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5182" y="2044476"/>
            <a:ext cx="1016000" cy="8636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9081B59-50AA-FE49-B267-D2E0423F2A0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61618" y="4084523"/>
            <a:ext cx="1016000" cy="800100"/>
          </a:xfrm>
          <a:prstGeom prst="rect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A7C49441-274A-3B49-A606-671AEE81BF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5182" y="6075656"/>
            <a:ext cx="1016000" cy="8001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7DC756D5-393D-3947-B155-E8D0AD46A5C6}"/>
              </a:ext>
            </a:extLst>
          </p:cNvPr>
          <p:cNvSpPr txBox="1"/>
          <p:nvPr/>
        </p:nvSpPr>
        <p:spPr>
          <a:xfrm>
            <a:off x="679835" y="2888592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Steve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FE0EAAF9-C06A-E346-9843-C87E871FA950}"/>
              </a:ext>
            </a:extLst>
          </p:cNvPr>
          <p:cNvSpPr txBox="1"/>
          <p:nvPr/>
        </p:nvSpPr>
        <p:spPr>
          <a:xfrm>
            <a:off x="689669" y="4875714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Annie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D19F04C-C3E6-1248-A8B8-D1F412BEC06C}"/>
              </a:ext>
            </a:extLst>
          </p:cNvPr>
          <p:cNvSpPr txBox="1"/>
          <p:nvPr/>
        </p:nvSpPr>
        <p:spPr>
          <a:xfrm>
            <a:off x="682326" y="6881905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Ralph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EAE60AF1-320C-BC40-9B8A-37EEA5270EB8}"/>
              </a:ext>
            </a:extLst>
          </p:cNvPr>
          <p:cNvSpPr txBox="1"/>
          <p:nvPr/>
        </p:nvSpPr>
        <p:spPr>
          <a:xfrm>
            <a:off x="148321" y="1269013"/>
            <a:ext cx="1654446" cy="26729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dirty="0">
                <a:solidFill>
                  <a:schemeClr val="bg2"/>
                </a:solidFill>
                <a:latin typeface="Gotham HTF" pitchFamily="2" charset="77"/>
              </a:rPr>
              <a:t>SPEND</a:t>
            </a:r>
            <a:br>
              <a:rPr lang="en-US" sz="1600" dirty="0">
                <a:solidFill>
                  <a:schemeClr val="bg2"/>
                </a:solidFill>
                <a:latin typeface="Gotham HTF" pitchFamily="2" charset="77"/>
              </a:rPr>
            </a:br>
            <a:r>
              <a:rPr lang="en-US" sz="1050" dirty="0">
                <a:solidFill>
                  <a:schemeClr val="bg2"/>
                </a:solidFill>
                <a:latin typeface="Gotham HTF" pitchFamily="2" charset="77"/>
              </a:rPr>
              <a:t>(inputs)</a:t>
            </a:r>
            <a:endParaRPr lang="en-US" sz="1600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C7E40432-2FDA-3A4D-9679-768D1F156E6F}"/>
              </a:ext>
            </a:extLst>
          </p:cNvPr>
          <p:cNvSpPr txBox="1"/>
          <p:nvPr/>
        </p:nvSpPr>
        <p:spPr>
          <a:xfrm>
            <a:off x="5014015" y="1258817"/>
            <a:ext cx="1654446" cy="26729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dirty="0">
                <a:solidFill>
                  <a:schemeClr val="bg2"/>
                </a:solidFill>
                <a:latin typeface="Gotham HTF" pitchFamily="2" charset="77"/>
              </a:rPr>
              <a:t>RECEIVE</a:t>
            </a:r>
            <a:br>
              <a:rPr lang="en-US" sz="1600" dirty="0">
                <a:solidFill>
                  <a:schemeClr val="bg2"/>
                </a:solidFill>
                <a:latin typeface="Gotham HTF" pitchFamily="2" charset="77"/>
              </a:rPr>
            </a:br>
            <a:r>
              <a:rPr lang="en-US" sz="1050" dirty="0">
                <a:solidFill>
                  <a:schemeClr val="bg2"/>
                </a:solidFill>
                <a:latin typeface="Gotham HTF" pitchFamily="2" charset="77"/>
              </a:rPr>
              <a:t>(outputs)</a:t>
            </a:r>
            <a:endParaRPr lang="en-US" sz="1600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475DDD4F-F75A-4944-B3E6-7C4B93A96B8B}"/>
              </a:ext>
            </a:extLst>
          </p:cNvPr>
          <p:cNvSpPr txBox="1"/>
          <p:nvPr/>
        </p:nvSpPr>
        <p:spPr>
          <a:xfrm>
            <a:off x="2603244" y="2131083"/>
            <a:ext cx="1654446" cy="33774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/>
            <a:r>
              <a:rPr lang="en-US" sz="1200" b="1" dirty="0">
                <a:solidFill>
                  <a:schemeClr val="bg2"/>
                </a:solidFill>
                <a:latin typeface="Gotham HTF" pitchFamily="2" charset="77"/>
              </a:rPr>
              <a:t>TRANSACTION 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#1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29541E5B-F38D-744E-AD45-39E340FF040E}"/>
              </a:ext>
            </a:extLst>
          </p:cNvPr>
          <p:cNvSpPr txBox="1"/>
          <p:nvPr/>
        </p:nvSpPr>
        <p:spPr>
          <a:xfrm>
            <a:off x="5558144" y="2877992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Anni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2C761240-2F89-544F-AC7A-7A0870EF439A}"/>
              </a:ext>
            </a:extLst>
          </p:cNvPr>
          <p:cNvSpPr txBox="1"/>
          <p:nvPr/>
        </p:nvSpPr>
        <p:spPr>
          <a:xfrm>
            <a:off x="2610989" y="4174279"/>
            <a:ext cx="1654446" cy="48630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/>
            <a:r>
              <a:rPr lang="en-US" sz="1200" b="1" dirty="0">
                <a:solidFill>
                  <a:schemeClr val="bg2"/>
                </a:solidFill>
                <a:latin typeface="Gotham HTF" pitchFamily="2" charset="77"/>
              </a:rPr>
              <a:t>TRANSACTION 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#2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7B2EDA6E-6420-8E4D-89F7-C2BA5F0F508E}"/>
              </a:ext>
            </a:extLst>
          </p:cNvPr>
          <p:cNvSpPr txBox="1"/>
          <p:nvPr/>
        </p:nvSpPr>
        <p:spPr>
          <a:xfrm>
            <a:off x="5567978" y="4865114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Ralph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791DA1CA-C308-E244-8D4E-0146B2A00A3B}"/>
              </a:ext>
            </a:extLst>
          </p:cNvPr>
          <p:cNvSpPr txBox="1"/>
          <p:nvPr/>
        </p:nvSpPr>
        <p:spPr>
          <a:xfrm>
            <a:off x="2604874" y="6143592"/>
            <a:ext cx="1654446" cy="48630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/>
            <a:r>
              <a:rPr lang="en-US" sz="1200" b="1" dirty="0">
                <a:solidFill>
                  <a:schemeClr val="bg2"/>
                </a:solidFill>
                <a:latin typeface="Gotham HTF" pitchFamily="2" charset="77"/>
              </a:rPr>
              <a:t>TRANSACTION 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#3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1960064B-F0F9-624D-9611-0EBA03AE9D5C}"/>
              </a:ext>
            </a:extLst>
          </p:cNvPr>
          <p:cNvSpPr txBox="1"/>
          <p:nvPr/>
        </p:nvSpPr>
        <p:spPr>
          <a:xfrm>
            <a:off x="5560635" y="6871305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Anuj</a:t>
            </a:r>
          </a:p>
        </p:txBody>
      </p:sp>
      <p:cxnSp>
        <p:nvCxnSpPr>
          <p:cNvPr id="31" name="Elbow Connector 30">
            <a:extLst>
              <a:ext uri="{FF2B5EF4-FFF2-40B4-BE49-F238E27FC236}">
                <a16:creationId xmlns:a16="http://schemas.microsoft.com/office/drawing/2014/main" id="{AA7F44D5-7132-4F44-ACED-5E8F8B438046}"/>
              </a:ext>
            </a:extLst>
          </p:cNvPr>
          <p:cNvCxnSpPr>
            <a:cxnSpLocks/>
            <a:stCxn id="81" idx="4"/>
            <a:endCxn id="76" idx="0"/>
          </p:cNvCxnSpPr>
          <p:nvPr/>
        </p:nvCxnSpPr>
        <p:spPr>
          <a:xfrm rot="5400000">
            <a:off x="3169590" y="1087592"/>
            <a:ext cx="518821" cy="4878780"/>
          </a:xfrm>
          <a:prstGeom prst="bentConnector3">
            <a:avLst>
              <a:gd name="adj1" fmla="val 50000"/>
            </a:avLst>
          </a:prstGeom>
          <a:ln w="31750" cap="rnd">
            <a:solidFill>
              <a:schemeClr val="tx2">
                <a:lumMod val="50000"/>
                <a:lumOff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Elbow Connector 115">
            <a:extLst>
              <a:ext uri="{FF2B5EF4-FFF2-40B4-BE49-F238E27FC236}">
                <a16:creationId xmlns:a16="http://schemas.microsoft.com/office/drawing/2014/main" id="{EBC41990-6F6D-EF48-AC2D-8547160E6428}"/>
              </a:ext>
            </a:extLst>
          </p:cNvPr>
          <p:cNvCxnSpPr>
            <a:cxnSpLocks/>
            <a:stCxn id="83" idx="4"/>
            <a:endCxn id="77" idx="0"/>
          </p:cNvCxnSpPr>
          <p:nvPr/>
        </p:nvCxnSpPr>
        <p:spPr>
          <a:xfrm rot="5400000">
            <a:off x="3180302" y="3084275"/>
            <a:ext cx="497396" cy="4878780"/>
          </a:xfrm>
          <a:prstGeom prst="bentConnector3">
            <a:avLst>
              <a:gd name="adj1" fmla="val 50000"/>
            </a:avLst>
          </a:prstGeom>
          <a:ln w="31750" cap="rnd">
            <a:solidFill>
              <a:schemeClr val="tx2">
                <a:lumMod val="50000"/>
                <a:lumOff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11AEF8D9-205B-5345-8A24-EF185183FE75}"/>
              </a:ext>
            </a:extLst>
          </p:cNvPr>
          <p:cNvCxnSpPr>
            <a:cxnSpLocks/>
          </p:cNvCxnSpPr>
          <p:nvPr/>
        </p:nvCxnSpPr>
        <p:spPr>
          <a:xfrm>
            <a:off x="1674869" y="3063969"/>
            <a:ext cx="3609158" cy="2888555"/>
          </a:xfrm>
          <a:prstGeom prst="straightConnector1">
            <a:avLst/>
          </a:prstGeom>
          <a:ln w="184150" cap="sq">
            <a:solidFill>
              <a:schemeClr val="bg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124">
            <a:extLst>
              <a:ext uri="{FF2B5EF4-FFF2-40B4-BE49-F238E27FC236}">
                <a16:creationId xmlns:a16="http://schemas.microsoft.com/office/drawing/2014/main" id="{DA57543B-83F0-8743-BAFE-91656169AAC4}"/>
              </a:ext>
            </a:extLst>
          </p:cNvPr>
          <p:cNvSpPr txBox="1"/>
          <p:nvPr/>
        </p:nvSpPr>
        <p:spPr>
          <a:xfrm>
            <a:off x="254637" y="7525581"/>
            <a:ext cx="6303448" cy="142791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just">
              <a:spcAft>
                <a:spcPts val="400"/>
              </a:spcAft>
            </a:pP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Steve sends Annie some EPIC, Annie sends Ralph some EPIC, and Ralph sends Anuj some EPIC. Rather than keeping all the details of all the transactions on the blockchain, CUT-THROUGH removes SPENDS and matching spent RECEIVES.</a:t>
            </a:r>
          </a:p>
          <a:p>
            <a:pPr algn="just">
              <a:spcAft>
                <a:spcPts val="400"/>
              </a:spcAft>
            </a:pP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A trace record that the transaction took place is kept, along with the remaining unmatched SPEND and RECEIVE records. It’s a genius idea, the more SPENDS and RECEIVES that are matched result in the EPIC blockchain getting smaller.</a:t>
            </a:r>
          </a:p>
          <a:p>
            <a:pPr algn="just">
              <a:spcAft>
                <a:spcPts val="400"/>
              </a:spcAft>
            </a:pP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An added benefit is that it future-proofs the blockchain from advances in forensic analysis. If the transaction data isn’t there, it can’t be recovered!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91C18312-51BF-944C-8435-485A178B7F39}"/>
              </a:ext>
            </a:extLst>
          </p:cNvPr>
          <p:cNvSpPr/>
          <p:nvPr/>
        </p:nvSpPr>
        <p:spPr>
          <a:xfrm>
            <a:off x="5627392" y="8926610"/>
            <a:ext cx="1239443" cy="184666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r"/>
            <a:r>
              <a:rPr lang="en-US" sz="600" dirty="0">
                <a:solidFill>
                  <a:schemeClr val="bg2"/>
                </a:solidFill>
                <a:latin typeface="Gotham HTF Book" pitchFamily="2" charset="77"/>
              </a:rPr>
              <a:t>Version 04 – 22</a:t>
            </a:r>
            <a:r>
              <a:rPr lang="en-US" sz="600" baseline="30000" dirty="0">
                <a:solidFill>
                  <a:schemeClr val="bg2"/>
                </a:solidFill>
                <a:latin typeface="Gotham HTF Book" pitchFamily="2" charset="77"/>
              </a:rPr>
              <a:t>nd</a:t>
            </a:r>
            <a:r>
              <a:rPr lang="en-US" sz="600" dirty="0">
                <a:solidFill>
                  <a:schemeClr val="bg2"/>
                </a:solidFill>
                <a:latin typeface="Gotham HTF Book" pitchFamily="2" charset="77"/>
              </a:rPr>
              <a:t> Feb 2021</a:t>
            </a:r>
          </a:p>
        </p:txBody>
      </p:sp>
    </p:spTree>
    <p:extLst>
      <p:ext uri="{BB962C8B-B14F-4D97-AF65-F5344CB8AC3E}">
        <p14:creationId xmlns:p14="http://schemas.microsoft.com/office/powerpoint/2010/main" val="15549109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sYT6ST.da8bvI5zDsx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Epic Cash">
      <a:dk1>
        <a:srgbClr val="8A8B8A"/>
      </a:dk1>
      <a:lt1>
        <a:srgbClr val="C89E60"/>
      </a:lt1>
      <a:dk2>
        <a:srgbClr val="282827"/>
      </a:dk2>
      <a:lt2>
        <a:srgbClr val="FFFFFF"/>
      </a:lt2>
      <a:accent1>
        <a:srgbClr val="E0C7A5"/>
      </a:accent1>
      <a:accent2>
        <a:srgbClr val="C89E60"/>
      </a:accent2>
      <a:accent3>
        <a:srgbClr val="957343"/>
      </a:accent3>
      <a:accent4>
        <a:srgbClr val="E3E5E3"/>
      </a:accent4>
      <a:accent5>
        <a:srgbClr val="EFEFEE"/>
      </a:accent5>
      <a:accent6>
        <a:srgbClr val="28568A"/>
      </a:accent6>
      <a:hlink>
        <a:srgbClr val="FFFFFF"/>
      </a:hlink>
      <a:folHlink>
        <a:srgbClr val="FFFF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 cap="rnd">
          <a:solidFill>
            <a:schemeClr val="tx1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tlCol="0">
        <a:noAutofit/>
      </a:bodyPr>
      <a:lstStyle>
        <a:defPPr algn="l">
          <a:defRPr sz="2400" b="1" dirty="0" smtClean="0">
            <a:solidFill>
              <a:schemeClr val="tx2"/>
            </a:solidFill>
            <a:latin typeface="Gotham HTF Book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147</TotalTime>
  <Words>144</Words>
  <Application>Microsoft Macintosh PowerPoint</Application>
  <PresentationFormat>Letter Paper (8.5x11 in)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Gotham HTF</vt:lpstr>
      <vt:lpstr>Gotham HTF Black</vt:lpstr>
      <vt:lpstr>Gotham HTF Book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nnie Taylor</dc:creator>
  <cp:lastModifiedBy>Spencer Lambert</cp:lastModifiedBy>
  <cp:revision>48</cp:revision>
  <cp:lastPrinted>2020-07-19T12:20:33Z</cp:lastPrinted>
  <dcterms:created xsi:type="dcterms:W3CDTF">2020-07-14T13:42:50Z</dcterms:created>
  <dcterms:modified xsi:type="dcterms:W3CDTF">2021-02-22T16:43:35Z</dcterms:modified>
</cp:coreProperties>
</file>